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Override1.xml" ContentType="application/vnd.openxmlformats-officedocument.themeOverride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405" r:id="rId2"/>
    <p:sldId id="420" r:id="rId3"/>
    <p:sldId id="442" r:id="rId4"/>
    <p:sldId id="428" r:id="rId5"/>
    <p:sldId id="431" r:id="rId6"/>
    <p:sldId id="443" r:id="rId7"/>
    <p:sldId id="429" r:id="rId8"/>
    <p:sldId id="434" r:id="rId9"/>
    <p:sldId id="435" r:id="rId10"/>
    <p:sldId id="432" r:id="rId11"/>
    <p:sldId id="437" r:id="rId12"/>
    <p:sldId id="433" r:id="rId13"/>
    <p:sldId id="438" r:id="rId14"/>
    <p:sldId id="440" r:id="rId15"/>
    <p:sldId id="425" r:id="rId16"/>
  </p:sldIdLst>
  <p:sldSz cx="12192000" cy="6858000"/>
  <p:notesSz cx="6858000" cy="9774238"/>
  <p:custDataLst>
    <p:tags r:id="rId19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Frutiger 45 Light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Frutiger 45 Light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Frutiger 45 Light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Frutiger 45 Light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Frutiger 45 Light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Frutiger 45 Light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Frutiger 45 Light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Frutiger 45 Light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Frutiger 45 Light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92" userDrawn="1">
          <p15:clr>
            <a:srgbClr val="A4A3A4"/>
          </p15:clr>
        </p15:guide>
        <p15:guide id="2" orient="horz" pos="2529" userDrawn="1">
          <p15:clr>
            <a:srgbClr val="A4A3A4"/>
          </p15:clr>
        </p15:guide>
        <p15:guide id="3" pos="385" userDrawn="1">
          <p15:clr>
            <a:srgbClr val="A4A3A4"/>
          </p15:clr>
        </p15:guide>
        <p15:guide id="4" pos="174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9FFFED"/>
    <a:srgbClr val="FF6600"/>
    <a:srgbClr val="008080"/>
    <a:srgbClr val="339966"/>
    <a:srgbClr val="FF9933"/>
    <a:srgbClr val="CC6600"/>
    <a:srgbClr val="777777"/>
    <a:srgbClr val="FF9900"/>
    <a:srgbClr val="4559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Helle Formatvorlage 3 - Akz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425" autoAdjust="0"/>
    <p:restoredTop sz="96395" autoAdjust="0"/>
  </p:normalViewPr>
  <p:slideViewPr>
    <p:cSldViewPr snapToObjects="1" showGuides="1">
      <p:cViewPr varScale="1">
        <p:scale>
          <a:sx n="84" d="100"/>
          <a:sy n="84" d="100"/>
        </p:scale>
        <p:origin x="80" y="616"/>
      </p:cViewPr>
      <p:guideLst>
        <p:guide orient="horz" pos="3492"/>
        <p:guide orient="horz" pos="2529"/>
        <p:guide pos="385"/>
        <p:guide pos="174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 varScale="1">
        <p:scale>
          <a:sx n="79" d="100"/>
          <a:sy n="79" d="100"/>
        </p:scale>
        <p:origin x="3942" y="114"/>
      </p:cViewPr>
      <p:guideLst/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D463882-2F01-4E9F-97E3-2792C4E7E3DF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5FDD80EF-3AD1-4079-835F-125C99BDADD3}">
      <dgm:prSet phldrT="[文本]"/>
      <dgm:spPr/>
      <dgm:t>
        <a:bodyPr/>
        <a:lstStyle/>
        <a:p>
          <a:r>
            <a:rPr lang="en-US" altLang="zh-CN">
              <a:solidFill>
                <a:srgbClr val="333333"/>
              </a:solidFill>
            </a:rPr>
            <a:t>Virtual Camera</a:t>
          </a:r>
          <a:endParaRPr lang="zh-CN" altLang="en-US">
            <a:solidFill>
              <a:srgbClr val="333333"/>
            </a:solidFill>
          </a:endParaRPr>
        </a:p>
      </dgm:t>
    </dgm:pt>
    <dgm:pt modelId="{27BF4332-843A-4F93-B700-AE4B72B32D27}" type="parTrans" cxnId="{E2913A73-A595-4BCC-A774-F5A39C7F6356}">
      <dgm:prSet/>
      <dgm:spPr/>
      <dgm:t>
        <a:bodyPr/>
        <a:lstStyle/>
        <a:p>
          <a:endParaRPr lang="zh-CN" altLang="en-US"/>
        </a:p>
      </dgm:t>
    </dgm:pt>
    <dgm:pt modelId="{F0AC977E-DD70-4CC3-AEA0-F85E2D342C4B}" type="sibTrans" cxnId="{E2913A73-A595-4BCC-A774-F5A39C7F6356}">
      <dgm:prSet/>
      <dgm:spPr/>
      <dgm:t>
        <a:bodyPr/>
        <a:lstStyle/>
        <a:p>
          <a:r>
            <a:rPr lang="en-US" altLang="zh-CN">
              <a:solidFill>
                <a:schemeClr val="tx1"/>
              </a:solidFill>
            </a:rPr>
            <a:t>ROS</a:t>
          </a:r>
          <a:endParaRPr lang="zh-CN" altLang="en-US">
            <a:solidFill>
              <a:schemeClr val="tx1"/>
            </a:solidFill>
          </a:endParaRPr>
        </a:p>
      </dgm:t>
    </dgm:pt>
    <dgm:pt modelId="{59CF1569-82E5-4A59-A977-150C0ED786CF}">
      <dgm:prSet phldrT="[文本]"/>
      <dgm:spPr/>
      <dgm:t>
        <a:bodyPr/>
        <a:lstStyle/>
        <a:p>
          <a:r>
            <a:rPr lang="en-US" altLang="zh-CN">
              <a:solidFill>
                <a:schemeClr val="tx1"/>
              </a:solidFill>
            </a:rPr>
            <a:t>YOLO</a:t>
          </a:r>
          <a:endParaRPr lang="zh-CN" altLang="en-US"/>
        </a:p>
      </dgm:t>
    </dgm:pt>
    <dgm:pt modelId="{03888862-39F3-4D5C-A67E-3D3612EF30B1}" type="parTrans" cxnId="{BE638CB5-1952-4559-AF7E-6EC368D56F78}">
      <dgm:prSet/>
      <dgm:spPr/>
      <dgm:t>
        <a:bodyPr/>
        <a:lstStyle/>
        <a:p>
          <a:endParaRPr lang="zh-CN" altLang="en-US"/>
        </a:p>
      </dgm:t>
    </dgm:pt>
    <dgm:pt modelId="{0FB7EA11-0D96-46F3-B6F5-2061778CCC2F}" type="sibTrans" cxnId="{BE638CB5-1952-4559-AF7E-6EC368D56F78}">
      <dgm:prSet/>
      <dgm:spPr/>
      <dgm:t>
        <a:bodyPr/>
        <a:lstStyle/>
        <a:p>
          <a:r>
            <a:rPr lang="en-US" altLang="zh-CN">
              <a:solidFill>
                <a:schemeClr val="tx1"/>
              </a:solidFill>
            </a:rPr>
            <a:t>ROS</a:t>
          </a:r>
          <a:endParaRPr lang="zh-CN" altLang="en-US">
            <a:solidFill>
              <a:schemeClr val="tx1"/>
            </a:solidFill>
          </a:endParaRPr>
        </a:p>
      </dgm:t>
    </dgm:pt>
    <dgm:pt modelId="{BC2CB241-8687-4064-8DA9-9C943C8CE10A}">
      <dgm:prSet phldrT="[文本]"/>
      <dgm:spPr/>
      <dgm:t>
        <a:bodyPr/>
        <a:lstStyle/>
        <a:p>
          <a:r>
            <a:rPr lang="en-US" altLang="zh-CN">
              <a:solidFill>
                <a:schemeClr val="tx1"/>
              </a:solidFill>
            </a:rPr>
            <a:t>Moveit!</a:t>
          </a:r>
          <a:endParaRPr lang="zh-CN" altLang="en-US">
            <a:solidFill>
              <a:schemeClr val="tx1"/>
            </a:solidFill>
          </a:endParaRPr>
        </a:p>
      </dgm:t>
    </dgm:pt>
    <dgm:pt modelId="{B028895F-73AC-44D8-8DA9-F2F936A08604}" type="parTrans" cxnId="{60B276CF-0FAB-47B2-B96A-0E09FF5477CB}">
      <dgm:prSet/>
      <dgm:spPr/>
      <dgm:t>
        <a:bodyPr/>
        <a:lstStyle/>
        <a:p>
          <a:endParaRPr lang="zh-CN" altLang="en-US"/>
        </a:p>
      </dgm:t>
    </dgm:pt>
    <dgm:pt modelId="{D6B96664-BA23-4057-9726-2094B1A9714B}" type="sibTrans" cxnId="{60B276CF-0FAB-47B2-B96A-0E09FF5477CB}">
      <dgm:prSet/>
      <dgm:spPr/>
      <dgm:t>
        <a:bodyPr/>
        <a:lstStyle/>
        <a:p>
          <a:r>
            <a:rPr lang="en-US" altLang="zh-CN" u="none">
              <a:solidFill>
                <a:schemeClr val="tx1"/>
              </a:solidFill>
            </a:rPr>
            <a:t>ROS</a:t>
          </a:r>
          <a:endParaRPr lang="zh-CN" altLang="en-US" u="none">
            <a:solidFill>
              <a:schemeClr val="tx1"/>
            </a:solidFill>
          </a:endParaRPr>
        </a:p>
      </dgm:t>
    </dgm:pt>
    <dgm:pt modelId="{5E913F9C-231C-40EA-9A58-A887E7D8CCA7}">
      <dgm:prSet phldrT="[文本]"/>
      <dgm:spPr/>
      <dgm:t>
        <a:bodyPr/>
        <a:lstStyle/>
        <a:p>
          <a:r>
            <a:rPr lang="en-US" altLang="zh-CN">
              <a:solidFill>
                <a:srgbClr val="333333"/>
              </a:solidFill>
            </a:rPr>
            <a:t>Grasping in Gazebo</a:t>
          </a:r>
          <a:endParaRPr lang="zh-CN" altLang="en-US">
            <a:solidFill>
              <a:srgbClr val="333333"/>
            </a:solidFill>
          </a:endParaRPr>
        </a:p>
      </dgm:t>
    </dgm:pt>
    <dgm:pt modelId="{15CFB90C-89BD-4B7A-86DE-C050EBC99198}" type="parTrans" cxnId="{83A80E19-78DD-42AA-9607-1FA93C4D4885}">
      <dgm:prSet/>
      <dgm:spPr/>
      <dgm:t>
        <a:bodyPr/>
        <a:lstStyle/>
        <a:p>
          <a:endParaRPr lang="zh-CN" altLang="en-US"/>
        </a:p>
      </dgm:t>
    </dgm:pt>
    <dgm:pt modelId="{5DF8E8B9-00DE-4CD1-83EE-4B10885499FC}" type="sibTrans" cxnId="{83A80E19-78DD-42AA-9607-1FA93C4D4885}">
      <dgm:prSet/>
      <dgm:spPr/>
      <dgm:t>
        <a:bodyPr/>
        <a:lstStyle/>
        <a:p>
          <a:endParaRPr lang="zh-CN" altLang="en-US"/>
        </a:p>
      </dgm:t>
    </dgm:pt>
    <dgm:pt modelId="{AC7AEADE-D6FF-49CA-9A96-D37EB7ED6B37}" type="pres">
      <dgm:prSet presAssocID="{FD463882-2F01-4E9F-97E3-2792C4E7E3DF}" presName="Name0" presStyleCnt="0">
        <dgm:presLayoutVars>
          <dgm:dir/>
          <dgm:resizeHandles val="exact"/>
        </dgm:presLayoutVars>
      </dgm:prSet>
      <dgm:spPr/>
    </dgm:pt>
    <dgm:pt modelId="{032C5F6F-01BD-46AF-ADF8-CE4C9FA96D65}" type="pres">
      <dgm:prSet presAssocID="{5FDD80EF-3AD1-4079-835F-125C99BDADD3}" presName="node" presStyleLbl="node1" presStyleIdx="0" presStyleCnt="4" custScaleX="94768" custScaleY="74017">
        <dgm:presLayoutVars>
          <dgm:bulletEnabled val="1"/>
        </dgm:presLayoutVars>
      </dgm:prSet>
      <dgm:spPr/>
    </dgm:pt>
    <dgm:pt modelId="{FD610D6F-ADA8-40B6-B68D-EB6538AFCD4B}" type="pres">
      <dgm:prSet presAssocID="{F0AC977E-DD70-4CC3-AEA0-F85E2D342C4B}" presName="sibTrans" presStyleLbl="sibTrans2D1" presStyleIdx="0" presStyleCnt="3"/>
      <dgm:spPr/>
    </dgm:pt>
    <dgm:pt modelId="{8FCEA61F-FE15-40AA-BF7A-1D83F621CDC9}" type="pres">
      <dgm:prSet presAssocID="{F0AC977E-DD70-4CC3-AEA0-F85E2D342C4B}" presName="connectorText" presStyleLbl="sibTrans2D1" presStyleIdx="0" presStyleCnt="3"/>
      <dgm:spPr/>
    </dgm:pt>
    <dgm:pt modelId="{6B4272D6-0378-430F-B93C-0389563D4EE9}" type="pres">
      <dgm:prSet presAssocID="{59CF1569-82E5-4A59-A977-150C0ED786CF}" presName="node" presStyleLbl="node1" presStyleIdx="1" presStyleCnt="4" custScaleX="56600" custScaleY="74454">
        <dgm:presLayoutVars>
          <dgm:bulletEnabled val="1"/>
        </dgm:presLayoutVars>
      </dgm:prSet>
      <dgm:spPr/>
    </dgm:pt>
    <dgm:pt modelId="{D6B6968C-5DD8-451E-9CAF-62D5D14779DB}" type="pres">
      <dgm:prSet presAssocID="{0FB7EA11-0D96-46F3-B6F5-2061778CCC2F}" presName="sibTrans" presStyleLbl="sibTrans2D1" presStyleIdx="1" presStyleCnt="3"/>
      <dgm:spPr/>
    </dgm:pt>
    <dgm:pt modelId="{743589E2-0B8E-445C-8DFC-F33802DB054B}" type="pres">
      <dgm:prSet presAssocID="{0FB7EA11-0D96-46F3-B6F5-2061778CCC2F}" presName="connectorText" presStyleLbl="sibTrans2D1" presStyleIdx="1" presStyleCnt="3"/>
      <dgm:spPr/>
    </dgm:pt>
    <dgm:pt modelId="{7ADA470D-F020-4D8E-AEDD-66142080C596}" type="pres">
      <dgm:prSet presAssocID="{BC2CB241-8687-4064-8DA9-9C943C8CE10A}" presName="node" presStyleLbl="node1" presStyleIdx="2" presStyleCnt="4" custScaleX="62783" custScaleY="74155">
        <dgm:presLayoutVars>
          <dgm:bulletEnabled val="1"/>
        </dgm:presLayoutVars>
      </dgm:prSet>
      <dgm:spPr/>
    </dgm:pt>
    <dgm:pt modelId="{43F08DBD-D6C4-4AFA-A0B9-BF3F6143632E}" type="pres">
      <dgm:prSet presAssocID="{D6B96664-BA23-4057-9726-2094B1A9714B}" presName="sibTrans" presStyleLbl="sibTrans2D1" presStyleIdx="2" presStyleCnt="3"/>
      <dgm:spPr/>
    </dgm:pt>
    <dgm:pt modelId="{2ABFA74A-299C-4605-94A9-A3E3073B4D9E}" type="pres">
      <dgm:prSet presAssocID="{D6B96664-BA23-4057-9726-2094B1A9714B}" presName="connectorText" presStyleLbl="sibTrans2D1" presStyleIdx="2" presStyleCnt="3"/>
      <dgm:spPr/>
    </dgm:pt>
    <dgm:pt modelId="{A3D1BA75-1CA7-4757-98AD-1F3B109747A9}" type="pres">
      <dgm:prSet presAssocID="{5E913F9C-231C-40EA-9A58-A887E7D8CCA7}" presName="node" presStyleLbl="node1" presStyleIdx="3" presStyleCnt="4" custScaleX="94768" custScaleY="74017">
        <dgm:presLayoutVars>
          <dgm:bulletEnabled val="1"/>
        </dgm:presLayoutVars>
      </dgm:prSet>
      <dgm:spPr/>
    </dgm:pt>
  </dgm:ptLst>
  <dgm:cxnLst>
    <dgm:cxn modelId="{83A80E19-78DD-42AA-9607-1FA93C4D4885}" srcId="{FD463882-2F01-4E9F-97E3-2792C4E7E3DF}" destId="{5E913F9C-231C-40EA-9A58-A887E7D8CCA7}" srcOrd="3" destOrd="0" parTransId="{15CFB90C-89BD-4B7A-86DE-C050EBC99198}" sibTransId="{5DF8E8B9-00DE-4CD1-83EE-4B10885499FC}"/>
    <dgm:cxn modelId="{2903BF1F-FD45-41FF-B917-F0134236CBCC}" type="presOf" srcId="{D6B96664-BA23-4057-9726-2094B1A9714B}" destId="{43F08DBD-D6C4-4AFA-A0B9-BF3F6143632E}" srcOrd="0" destOrd="0" presId="urn:microsoft.com/office/officeart/2005/8/layout/process1"/>
    <dgm:cxn modelId="{34CC8762-C789-4D82-8717-2B3D58784523}" type="presOf" srcId="{0FB7EA11-0D96-46F3-B6F5-2061778CCC2F}" destId="{D6B6968C-5DD8-451E-9CAF-62D5D14779DB}" srcOrd="0" destOrd="0" presId="urn:microsoft.com/office/officeart/2005/8/layout/process1"/>
    <dgm:cxn modelId="{E2913A73-A595-4BCC-A774-F5A39C7F6356}" srcId="{FD463882-2F01-4E9F-97E3-2792C4E7E3DF}" destId="{5FDD80EF-3AD1-4079-835F-125C99BDADD3}" srcOrd="0" destOrd="0" parTransId="{27BF4332-843A-4F93-B700-AE4B72B32D27}" sibTransId="{F0AC977E-DD70-4CC3-AEA0-F85E2D342C4B}"/>
    <dgm:cxn modelId="{824B3756-BF6D-4F7D-A5BC-0D0217BA1EF2}" type="presOf" srcId="{0FB7EA11-0D96-46F3-B6F5-2061778CCC2F}" destId="{743589E2-0B8E-445C-8DFC-F33802DB054B}" srcOrd="1" destOrd="0" presId="urn:microsoft.com/office/officeart/2005/8/layout/process1"/>
    <dgm:cxn modelId="{7267C576-C8C6-4D90-A012-A35D64ECBF2A}" type="presOf" srcId="{5FDD80EF-3AD1-4079-835F-125C99BDADD3}" destId="{032C5F6F-01BD-46AF-ADF8-CE4C9FA96D65}" srcOrd="0" destOrd="0" presId="urn:microsoft.com/office/officeart/2005/8/layout/process1"/>
    <dgm:cxn modelId="{82B6C956-FB01-4D8D-AC89-6847DDD53A54}" type="presOf" srcId="{D6B96664-BA23-4057-9726-2094B1A9714B}" destId="{2ABFA74A-299C-4605-94A9-A3E3073B4D9E}" srcOrd="1" destOrd="0" presId="urn:microsoft.com/office/officeart/2005/8/layout/process1"/>
    <dgm:cxn modelId="{9A90FD5A-F2B5-4316-AAB8-114DB636E4CE}" type="presOf" srcId="{BC2CB241-8687-4064-8DA9-9C943C8CE10A}" destId="{7ADA470D-F020-4D8E-AEDD-66142080C596}" srcOrd="0" destOrd="0" presId="urn:microsoft.com/office/officeart/2005/8/layout/process1"/>
    <dgm:cxn modelId="{F3D2589D-3219-417B-BB46-1ABE0FF835C8}" type="presOf" srcId="{5E913F9C-231C-40EA-9A58-A887E7D8CCA7}" destId="{A3D1BA75-1CA7-4757-98AD-1F3B109747A9}" srcOrd="0" destOrd="0" presId="urn:microsoft.com/office/officeart/2005/8/layout/process1"/>
    <dgm:cxn modelId="{7A6B8EA0-3ADC-49BB-B17A-D29DD8C42322}" type="presOf" srcId="{FD463882-2F01-4E9F-97E3-2792C4E7E3DF}" destId="{AC7AEADE-D6FF-49CA-9A96-D37EB7ED6B37}" srcOrd="0" destOrd="0" presId="urn:microsoft.com/office/officeart/2005/8/layout/process1"/>
    <dgm:cxn modelId="{BE638CB5-1952-4559-AF7E-6EC368D56F78}" srcId="{FD463882-2F01-4E9F-97E3-2792C4E7E3DF}" destId="{59CF1569-82E5-4A59-A977-150C0ED786CF}" srcOrd="1" destOrd="0" parTransId="{03888862-39F3-4D5C-A67E-3D3612EF30B1}" sibTransId="{0FB7EA11-0D96-46F3-B6F5-2061778CCC2F}"/>
    <dgm:cxn modelId="{CC21D4C3-0740-4F42-8F44-D604EDB79D7E}" type="presOf" srcId="{F0AC977E-DD70-4CC3-AEA0-F85E2D342C4B}" destId="{FD610D6F-ADA8-40B6-B68D-EB6538AFCD4B}" srcOrd="0" destOrd="0" presId="urn:microsoft.com/office/officeart/2005/8/layout/process1"/>
    <dgm:cxn modelId="{60B276CF-0FAB-47B2-B96A-0E09FF5477CB}" srcId="{FD463882-2F01-4E9F-97E3-2792C4E7E3DF}" destId="{BC2CB241-8687-4064-8DA9-9C943C8CE10A}" srcOrd="2" destOrd="0" parTransId="{B028895F-73AC-44D8-8DA9-F2F936A08604}" sibTransId="{D6B96664-BA23-4057-9726-2094B1A9714B}"/>
    <dgm:cxn modelId="{D4D06FE8-03BD-48C8-AFBE-ABC81FAABDF0}" type="presOf" srcId="{F0AC977E-DD70-4CC3-AEA0-F85E2D342C4B}" destId="{8FCEA61F-FE15-40AA-BF7A-1D83F621CDC9}" srcOrd="1" destOrd="0" presId="urn:microsoft.com/office/officeart/2005/8/layout/process1"/>
    <dgm:cxn modelId="{F6A851E8-211F-4101-B67B-5E1BC04478C6}" type="presOf" srcId="{59CF1569-82E5-4A59-A977-150C0ED786CF}" destId="{6B4272D6-0378-430F-B93C-0389563D4EE9}" srcOrd="0" destOrd="0" presId="urn:microsoft.com/office/officeart/2005/8/layout/process1"/>
    <dgm:cxn modelId="{16C35295-5E24-4A92-A5E6-CE82BCDF68E4}" type="presParOf" srcId="{AC7AEADE-D6FF-49CA-9A96-D37EB7ED6B37}" destId="{032C5F6F-01BD-46AF-ADF8-CE4C9FA96D65}" srcOrd="0" destOrd="0" presId="urn:microsoft.com/office/officeart/2005/8/layout/process1"/>
    <dgm:cxn modelId="{4A92C603-D842-4DF2-82A0-DF7391B2FB45}" type="presParOf" srcId="{AC7AEADE-D6FF-49CA-9A96-D37EB7ED6B37}" destId="{FD610D6F-ADA8-40B6-B68D-EB6538AFCD4B}" srcOrd="1" destOrd="0" presId="urn:microsoft.com/office/officeart/2005/8/layout/process1"/>
    <dgm:cxn modelId="{E0B81D8D-C178-470C-B651-1A9FCE125728}" type="presParOf" srcId="{FD610D6F-ADA8-40B6-B68D-EB6538AFCD4B}" destId="{8FCEA61F-FE15-40AA-BF7A-1D83F621CDC9}" srcOrd="0" destOrd="0" presId="urn:microsoft.com/office/officeart/2005/8/layout/process1"/>
    <dgm:cxn modelId="{169DA130-D3BC-45BA-A4F6-AE2A963EB3BA}" type="presParOf" srcId="{AC7AEADE-D6FF-49CA-9A96-D37EB7ED6B37}" destId="{6B4272D6-0378-430F-B93C-0389563D4EE9}" srcOrd="2" destOrd="0" presId="urn:microsoft.com/office/officeart/2005/8/layout/process1"/>
    <dgm:cxn modelId="{D26470B1-9678-4C22-AE0D-B9F6C0D1BBCD}" type="presParOf" srcId="{AC7AEADE-D6FF-49CA-9A96-D37EB7ED6B37}" destId="{D6B6968C-5DD8-451E-9CAF-62D5D14779DB}" srcOrd="3" destOrd="0" presId="urn:microsoft.com/office/officeart/2005/8/layout/process1"/>
    <dgm:cxn modelId="{F4D03D97-BE61-4F22-9853-E75BC227ED91}" type="presParOf" srcId="{D6B6968C-5DD8-451E-9CAF-62D5D14779DB}" destId="{743589E2-0B8E-445C-8DFC-F33802DB054B}" srcOrd="0" destOrd="0" presId="urn:microsoft.com/office/officeart/2005/8/layout/process1"/>
    <dgm:cxn modelId="{27AE6C6A-87EF-4565-AADF-D1900CBF1A40}" type="presParOf" srcId="{AC7AEADE-D6FF-49CA-9A96-D37EB7ED6B37}" destId="{7ADA470D-F020-4D8E-AEDD-66142080C596}" srcOrd="4" destOrd="0" presId="urn:microsoft.com/office/officeart/2005/8/layout/process1"/>
    <dgm:cxn modelId="{A0AEEDF7-0C36-4C14-BBA7-E4F9FBE4CC69}" type="presParOf" srcId="{AC7AEADE-D6FF-49CA-9A96-D37EB7ED6B37}" destId="{43F08DBD-D6C4-4AFA-A0B9-BF3F6143632E}" srcOrd="5" destOrd="0" presId="urn:microsoft.com/office/officeart/2005/8/layout/process1"/>
    <dgm:cxn modelId="{2F7602B8-8467-4F67-B31A-7934A6D23A25}" type="presParOf" srcId="{43F08DBD-D6C4-4AFA-A0B9-BF3F6143632E}" destId="{2ABFA74A-299C-4605-94A9-A3E3073B4D9E}" srcOrd="0" destOrd="0" presId="urn:microsoft.com/office/officeart/2005/8/layout/process1"/>
    <dgm:cxn modelId="{FC68B58D-0DB0-4233-8C95-199C3BA53D87}" type="presParOf" srcId="{AC7AEADE-D6FF-49CA-9A96-D37EB7ED6B37}" destId="{A3D1BA75-1CA7-4757-98AD-1F3B109747A9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2C5F6F-01BD-46AF-ADF8-CE4C9FA96D65}">
      <dsp:nvSpPr>
        <dsp:cNvPr id="0" name=""/>
        <dsp:cNvSpPr/>
      </dsp:nvSpPr>
      <dsp:spPr>
        <a:xfrm>
          <a:off x="5509" y="2108952"/>
          <a:ext cx="2422314" cy="113514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3000" kern="1200">
              <a:solidFill>
                <a:srgbClr val="333333"/>
              </a:solidFill>
            </a:rPr>
            <a:t>Virtual Camera</a:t>
          </a:r>
          <a:endParaRPr lang="zh-CN" altLang="en-US" sz="3000" kern="1200">
            <a:solidFill>
              <a:srgbClr val="333333"/>
            </a:solidFill>
          </a:endParaRPr>
        </a:p>
      </dsp:txBody>
      <dsp:txXfrm>
        <a:off x="38756" y="2142199"/>
        <a:ext cx="2355820" cy="1068651"/>
      </dsp:txXfrm>
    </dsp:sp>
    <dsp:sp modelId="{FD610D6F-ADA8-40B6-B68D-EB6538AFCD4B}">
      <dsp:nvSpPr>
        <dsp:cNvPr id="0" name=""/>
        <dsp:cNvSpPr/>
      </dsp:nvSpPr>
      <dsp:spPr>
        <a:xfrm>
          <a:off x="2683428" y="2359575"/>
          <a:ext cx="541881" cy="6338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800" kern="1200">
              <a:solidFill>
                <a:schemeClr val="tx1"/>
              </a:solidFill>
            </a:rPr>
            <a:t>ROS</a:t>
          </a:r>
          <a:endParaRPr lang="zh-CN" altLang="en-US" sz="1800" kern="1200">
            <a:solidFill>
              <a:schemeClr val="tx1"/>
            </a:solidFill>
          </a:endParaRPr>
        </a:p>
      </dsp:txBody>
      <dsp:txXfrm>
        <a:off x="2683428" y="2486355"/>
        <a:ext cx="379317" cy="380339"/>
      </dsp:txXfrm>
    </dsp:sp>
    <dsp:sp modelId="{6B4272D6-0378-430F-B93C-0389563D4EE9}">
      <dsp:nvSpPr>
        <dsp:cNvPr id="0" name=""/>
        <dsp:cNvSpPr/>
      </dsp:nvSpPr>
      <dsp:spPr>
        <a:xfrm>
          <a:off x="3450242" y="2105601"/>
          <a:ext cx="1446722" cy="114184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3000" kern="1200">
              <a:solidFill>
                <a:schemeClr val="tx1"/>
              </a:solidFill>
            </a:rPr>
            <a:t>YOLO</a:t>
          </a:r>
          <a:endParaRPr lang="zh-CN" altLang="en-US" sz="3000" kern="1200"/>
        </a:p>
      </dsp:txBody>
      <dsp:txXfrm>
        <a:off x="3483686" y="2139045"/>
        <a:ext cx="1379834" cy="1074959"/>
      </dsp:txXfrm>
    </dsp:sp>
    <dsp:sp modelId="{D6B6968C-5DD8-451E-9CAF-62D5D14779DB}">
      <dsp:nvSpPr>
        <dsp:cNvPr id="0" name=""/>
        <dsp:cNvSpPr/>
      </dsp:nvSpPr>
      <dsp:spPr>
        <a:xfrm>
          <a:off x="5152569" y="2359575"/>
          <a:ext cx="541881" cy="6338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800" kern="1200">
              <a:solidFill>
                <a:schemeClr val="tx1"/>
              </a:solidFill>
            </a:rPr>
            <a:t>ROS</a:t>
          </a:r>
          <a:endParaRPr lang="zh-CN" altLang="en-US" sz="1800" kern="1200">
            <a:solidFill>
              <a:schemeClr val="tx1"/>
            </a:solidFill>
          </a:endParaRPr>
        </a:p>
      </dsp:txBody>
      <dsp:txXfrm>
        <a:off x="5152569" y="2486355"/>
        <a:ext cx="379317" cy="380339"/>
      </dsp:txXfrm>
    </dsp:sp>
    <dsp:sp modelId="{7ADA470D-F020-4D8E-AEDD-66142080C596}">
      <dsp:nvSpPr>
        <dsp:cNvPr id="0" name=""/>
        <dsp:cNvSpPr/>
      </dsp:nvSpPr>
      <dsp:spPr>
        <a:xfrm>
          <a:off x="5919383" y="2107894"/>
          <a:ext cx="1604762" cy="11372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3000" kern="1200">
              <a:solidFill>
                <a:schemeClr val="tx1"/>
              </a:solidFill>
            </a:rPr>
            <a:t>Moveit!</a:t>
          </a:r>
          <a:endParaRPr lang="zh-CN" altLang="en-US" sz="3000" kern="1200">
            <a:solidFill>
              <a:schemeClr val="tx1"/>
            </a:solidFill>
          </a:endParaRPr>
        </a:p>
      </dsp:txBody>
      <dsp:txXfrm>
        <a:off x="5952692" y="2141203"/>
        <a:ext cx="1538144" cy="1070643"/>
      </dsp:txXfrm>
    </dsp:sp>
    <dsp:sp modelId="{43F08DBD-D6C4-4AFA-A0B9-BF3F6143632E}">
      <dsp:nvSpPr>
        <dsp:cNvPr id="0" name=""/>
        <dsp:cNvSpPr/>
      </dsp:nvSpPr>
      <dsp:spPr>
        <a:xfrm>
          <a:off x="7779750" y="2359575"/>
          <a:ext cx="541881" cy="6338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800" u="none" kern="1200">
              <a:solidFill>
                <a:schemeClr val="tx1"/>
              </a:solidFill>
            </a:rPr>
            <a:t>ROS</a:t>
          </a:r>
          <a:endParaRPr lang="zh-CN" altLang="en-US" sz="1800" u="none" kern="1200">
            <a:solidFill>
              <a:schemeClr val="tx1"/>
            </a:solidFill>
          </a:endParaRPr>
        </a:p>
      </dsp:txBody>
      <dsp:txXfrm>
        <a:off x="7779750" y="2486355"/>
        <a:ext cx="379317" cy="380339"/>
      </dsp:txXfrm>
    </dsp:sp>
    <dsp:sp modelId="{A3D1BA75-1CA7-4757-98AD-1F3B109747A9}">
      <dsp:nvSpPr>
        <dsp:cNvPr id="0" name=""/>
        <dsp:cNvSpPr/>
      </dsp:nvSpPr>
      <dsp:spPr>
        <a:xfrm>
          <a:off x="8546564" y="2108952"/>
          <a:ext cx="2422314" cy="113514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3000" kern="1200">
              <a:solidFill>
                <a:srgbClr val="333333"/>
              </a:solidFill>
            </a:rPr>
            <a:t>Grasping in Gazebo</a:t>
          </a:r>
          <a:endParaRPr lang="zh-CN" altLang="en-US" sz="3000" kern="1200">
            <a:solidFill>
              <a:srgbClr val="333333"/>
            </a:solidFill>
          </a:endParaRPr>
        </a:p>
      </dsp:txBody>
      <dsp:txXfrm>
        <a:off x="8579811" y="2142199"/>
        <a:ext cx="2355820" cy="106865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921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9216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283700"/>
            <a:ext cx="297180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921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9283700"/>
            <a:ext cx="297180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fld id="{6F7E290D-D0F5-44F3-9BBF-517C040184A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9042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endParaRPr lang="de-DE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endParaRPr lang="de-DE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71450" y="733425"/>
            <a:ext cx="6515100" cy="36655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22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643438"/>
            <a:ext cx="5486400" cy="439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283700"/>
            <a:ext cx="297180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endParaRPr lang="de-DE"/>
          </a:p>
        </p:txBody>
      </p:sp>
      <p:sp>
        <p:nvSpPr>
          <p:cNvPr id="122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9283700"/>
            <a:ext cx="297180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fld id="{B1936D3B-1A1A-458A-9428-9E381CCD61E7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31571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828799" y="2102203"/>
            <a:ext cx="9086198" cy="52322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799" y="3384575"/>
            <a:ext cx="9086197" cy="23431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el 26"/>
          <p:cNvSpPr>
            <a:spLocks noGrp="1"/>
          </p:cNvSpPr>
          <p:nvPr>
            <p:ph type="title"/>
          </p:nvPr>
        </p:nvSpPr>
        <p:spPr>
          <a:xfrm>
            <a:off x="602585" y="69590"/>
            <a:ext cx="10975015" cy="523220"/>
          </a:xfrm>
        </p:spPr>
        <p:txBody>
          <a:bodyPr wrap="square"/>
          <a:lstStyle>
            <a:lvl1pPr>
              <a:defRPr sz="2800">
                <a:latin typeface="Frutiger LT Com 55 Roman" panose="020B0503030504020204" pitchFamily="34" charset="0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Inhaltsplatzhalter 2"/>
          <p:cNvSpPr>
            <a:spLocks noGrp="1"/>
          </p:cNvSpPr>
          <p:nvPr>
            <p:ph idx="10"/>
          </p:nvPr>
        </p:nvSpPr>
        <p:spPr>
          <a:xfrm>
            <a:off x="602585" y="777600"/>
            <a:ext cx="10975015" cy="5353200"/>
          </a:xfrm>
        </p:spPr>
        <p:txBody>
          <a:bodyPr>
            <a:normAutofit/>
          </a:bodyPr>
          <a:lstStyle>
            <a:lvl1pPr>
              <a:defRPr sz="2000">
                <a:latin typeface="Frutiger LT Com 45 Light" panose="020B0303030504020204" pitchFamily="34" charset="0"/>
              </a:defRPr>
            </a:lvl1pPr>
            <a:lvl2pPr>
              <a:defRPr sz="1800">
                <a:latin typeface="Frutiger LT Com 45 Light" panose="020B0303030504020204" pitchFamily="34" charset="0"/>
              </a:defRPr>
            </a:lvl2pPr>
            <a:lvl3pPr marL="1143000" indent="-228600">
              <a:buFont typeface="Wingdings 2" pitchFamily="18" charset="2"/>
              <a:buChar char=""/>
              <a:defRPr sz="1600">
                <a:latin typeface="Frutiger LT Com 45 Light" panose="020B0303030504020204" pitchFamily="34" charset="0"/>
              </a:defRPr>
            </a:lvl3pPr>
            <a:lvl4pPr marL="1600200" indent="-228600">
              <a:buFont typeface="Wingdings 2" pitchFamily="18" charset="2"/>
              <a:buChar char=""/>
              <a:defRPr sz="1400">
                <a:latin typeface="Frutiger LT Com 45 Light" panose="020B0303030504020204" pitchFamily="34" charset="0"/>
              </a:defRPr>
            </a:lvl4pPr>
            <a:lvl5pPr marL="2057400" indent="-228600">
              <a:buFont typeface="Wingdings 2" pitchFamily="18" charset="2"/>
              <a:buChar char=""/>
              <a:defRPr sz="1400">
                <a:latin typeface="Frutiger LT Com 45 Light" panose="020B0303030504020204" pitchFamily="34" charset="0"/>
              </a:defRPr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elplatzhalter 24"/>
          <p:cNvSpPr>
            <a:spLocks noGrp="1"/>
          </p:cNvSpPr>
          <p:nvPr>
            <p:ph type="title"/>
          </p:nvPr>
        </p:nvSpPr>
        <p:spPr>
          <a:xfrm>
            <a:off x="602585" y="69590"/>
            <a:ext cx="10975015" cy="523220"/>
          </a:xfrm>
          <a:prstGeom prst="rect">
            <a:avLst/>
          </a:prstGeom>
        </p:spPr>
        <p:txBody>
          <a:bodyPr vert="horz" wrap="square" lIns="91440" tIns="45720" rIns="0" bIns="45720" rtlCol="0" anchor="ctr">
            <a:sp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26" name="Textplatzhalter 25"/>
          <p:cNvSpPr>
            <a:spLocks noGrp="1"/>
          </p:cNvSpPr>
          <p:nvPr>
            <p:ph type="body" idx="1"/>
          </p:nvPr>
        </p:nvSpPr>
        <p:spPr>
          <a:xfrm>
            <a:off x="602585" y="1602000"/>
            <a:ext cx="10975015" cy="4525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0" name="Textfeld 9"/>
          <p:cNvSpPr txBox="1"/>
          <p:nvPr/>
        </p:nvSpPr>
        <p:spPr>
          <a:xfrm>
            <a:off x="489760" y="6451601"/>
            <a:ext cx="45216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noProof="0" dirty="0">
                <a:latin typeface="Frutiger LT Com 45 Light" panose="020B0303030504020204" pitchFamily="34" charset="0"/>
              </a:rPr>
              <a:t>Laborprojekt Servicerobotik</a:t>
            </a:r>
            <a:r>
              <a:rPr lang="de-DE" sz="1200" dirty="0"/>
              <a:t>/Bildverarbeitung für Robotik</a:t>
            </a:r>
            <a:r>
              <a:rPr lang="de-DE" sz="1200" noProof="0" dirty="0">
                <a:latin typeface="Frutiger LT Com 45 Light" panose="020B0303030504020204" pitchFamily="34" charset="0"/>
              </a:rPr>
              <a:t> SS 2024</a:t>
            </a:r>
            <a:endParaRPr lang="de-DE" sz="1200" baseline="0" noProof="0" dirty="0">
              <a:latin typeface="Frutiger LT Com 45 Light" panose="020B0303030504020204" pitchFamily="34" charset="0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5420925" y="6451601"/>
            <a:ext cx="37550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noProof="0" dirty="0">
                <a:latin typeface="Frutiger LT Com 45 Light" panose="020B0303030504020204" pitchFamily="34" charset="0"/>
              </a:rPr>
              <a:t>Abschlusspräsentation Projekt 01, &lt;Name</a:t>
            </a:r>
            <a:r>
              <a:rPr lang="de-DE" sz="1200" baseline="0" noProof="0" dirty="0">
                <a:latin typeface="Frutiger LT Com 45 Light" panose="020B0303030504020204" pitchFamily="34" charset="0"/>
              </a:rPr>
              <a:t> Bearbeiter&gt;</a:t>
            </a:r>
            <a:r>
              <a:rPr lang="de-DE" sz="1200" noProof="0" dirty="0">
                <a:latin typeface="Frutiger LT Com 45 Light" panose="020B0303030504020204" pitchFamily="34" charset="0"/>
              </a:rPr>
              <a:t> 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11183816" y="6451601"/>
            <a:ext cx="4542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48E7E1A-9428-4A65-9A82-0771208A7443}" type="slidenum">
              <a:rPr lang="en-US" sz="1200" baseline="0" noProof="0" smtClean="0">
                <a:latin typeface="Frutiger LT Com 45 Light" panose="020B0303030504020204" pitchFamily="34" charset="0"/>
              </a:rPr>
              <a:pPr/>
              <a:t>‹#›</a:t>
            </a:fld>
            <a:endParaRPr lang="en-US" sz="1200" noProof="0" dirty="0">
              <a:latin typeface="Frutiger LT Com 45 Light" panose="020B0303030504020204" pitchFamily="34" charset="0"/>
            </a:endParaRPr>
          </a:p>
        </p:txBody>
      </p:sp>
      <p:sp>
        <p:nvSpPr>
          <p:cNvPr id="7" name="Rechteck 6"/>
          <p:cNvSpPr/>
          <p:nvPr userDrawn="1"/>
        </p:nvSpPr>
        <p:spPr>
          <a:xfrm>
            <a:off x="0" y="639313"/>
            <a:ext cx="11076923" cy="85210"/>
          </a:xfrm>
          <a:prstGeom prst="rect">
            <a:avLst/>
          </a:prstGeom>
          <a:gradFill flip="none" rotWithShape="1">
            <a:gsLst>
              <a:gs pos="0">
                <a:srgbClr val="009377"/>
              </a:gs>
              <a:gs pos="100000">
                <a:srgbClr val="009377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latin typeface="Frutiger LT Com 45 Light" panose="020B0303030504020204" pitchFamily="34" charset="0"/>
            </a:endParaRPr>
          </a:p>
        </p:txBody>
      </p:sp>
      <p:sp>
        <p:nvSpPr>
          <p:cNvPr id="8" name="Rechteck 7"/>
          <p:cNvSpPr/>
          <p:nvPr userDrawn="1"/>
        </p:nvSpPr>
        <p:spPr>
          <a:xfrm flipH="1">
            <a:off x="1125588" y="6264315"/>
            <a:ext cx="11076923" cy="85210"/>
          </a:xfrm>
          <a:prstGeom prst="rect">
            <a:avLst/>
          </a:prstGeom>
          <a:gradFill flip="none" rotWithShape="1">
            <a:gsLst>
              <a:gs pos="0">
                <a:srgbClr val="009377"/>
              </a:gs>
              <a:gs pos="100000">
                <a:srgbClr val="009377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latin typeface="Frutiger LT Com 45 Light" panose="020B0303030504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4D4D4D"/>
          </a:solidFill>
          <a:latin typeface="Frutiger LT Com 55 Roman" panose="020B0503030504020204" pitchFamily="34" charset="0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4D4D4D"/>
          </a:solidFill>
          <a:latin typeface="Frutiger 55 Roman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4D4D4D"/>
          </a:solidFill>
          <a:latin typeface="Frutiger 55 Roman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4D4D4D"/>
          </a:solidFill>
          <a:latin typeface="Frutiger 55 Roman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4D4D4D"/>
          </a:solidFill>
          <a:latin typeface="Frutiger 55 Roman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4D4D4D"/>
          </a:solidFill>
          <a:latin typeface="Frutiger 55 Roman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4D4D4D"/>
          </a:solidFill>
          <a:latin typeface="Frutiger 55 Roman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4D4D4D"/>
          </a:solidFill>
          <a:latin typeface="Frutiger 55 Roman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4D4D4D"/>
          </a:solidFill>
          <a:latin typeface="Frutiger 55 Roman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339966"/>
        </a:buClr>
        <a:buFont typeface="Wingdings" panose="05000000000000000000" pitchFamily="2" charset="2"/>
        <a:buChar char="§"/>
        <a:defRPr sz="2400">
          <a:solidFill>
            <a:schemeClr val="tx1"/>
          </a:solidFill>
          <a:latin typeface="Frutiger LT Com 45 Light" panose="020B0303030504020204" pitchFamily="34" charset="0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339966"/>
        </a:buClr>
        <a:buFont typeface="Arial" panose="020B0604020202020204" pitchFamily="34" charset="0"/>
        <a:buChar char="•"/>
        <a:defRPr sz="2000">
          <a:solidFill>
            <a:schemeClr val="tx1"/>
          </a:solidFill>
          <a:latin typeface="Frutiger LT Com 45 Light" panose="020B0303030504020204" pitchFamily="34" charset="0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339966"/>
        </a:buClr>
        <a:buFont typeface="Symbol" panose="05050102010706020507" pitchFamily="18" charset="2"/>
        <a:buChar char="-"/>
        <a:defRPr sz="2000">
          <a:solidFill>
            <a:schemeClr val="tx1"/>
          </a:solidFill>
          <a:latin typeface="Frutiger LT Com 45 Light" panose="020B0303030504020204" pitchFamily="34" charset="0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339966"/>
        </a:buClr>
        <a:buFont typeface="Wingdings 2" pitchFamily="18" charset="2"/>
        <a:buChar char="­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339966"/>
        </a:buClr>
        <a:buFont typeface="Wingdings 2" pitchFamily="18" charset="2"/>
        <a:buChar char="­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339966"/>
        </a:buClr>
        <a:buFont typeface="Wingdings 2" pitchFamily="18" charset="2"/>
        <a:buChar char="­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339966"/>
        </a:buClr>
        <a:buFont typeface="Wingdings 2" pitchFamily="18" charset="2"/>
        <a:buChar char="­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339966"/>
        </a:buClr>
        <a:buFont typeface="Wingdings 2" pitchFamily="18" charset="2"/>
        <a:buChar char="­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339966"/>
        </a:buClr>
        <a:buFont typeface="Wingdings 2" pitchFamily="18" charset="2"/>
        <a:buChar char="­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627893" y="908720"/>
            <a:ext cx="10936214" cy="1815882"/>
          </a:xfrm>
        </p:spPr>
        <p:txBody>
          <a:bodyPr/>
          <a:lstStyle/>
          <a:p>
            <a:r>
              <a:rPr lang="de-DE" dirty="0"/>
              <a:t>Laborprojekt Servicerobotik / Bildverarbeitung für Robotik 2024</a:t>
            </a:r>
            <a:br>
              <a:rPr lang="de-DE" dirty="0"/>
            </a:br>
            <a:r>
              <a:rPr lang="de-DE" dirty="0"/>
              <a:t>Abschlusspräsentation</a:t>
            </a:r>
            <a:br>
              <a:rPr lang="de-DE" dirty="0"/>
            </a:br>
            <a:r>
              <a:rPr lang="de-DE"/>
              <a:t>Projekt 02: &lt;Bin picking&gt;</a:t>
            </a:r>
            <a:br>
              <a:rPr lang="de-DE" dirty="0"/>
            </a:br>
            <a:endParaRPr lang="de-DE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2392321" y="5727725"/>
            <a:ext cx="7382535" cy="408515"/>
          </a:xfrm>
        </p:spPr>
        <p:txBody>
          <a:bodyPr/>
          <a:lstStyle/>
          <a:p>
            <a:r>
              <a:rPr lang="de-DE" dirty="0"/>
              <a:t>Bearbeiter</a:t>
            </a:r>
            <a:r>
              <a:rPr lang="de-DE"/>
              <a:t>: &lt;Nan Jiang&gt;</a:t>
            </a:r>
            <a:endParaRPr lang="de-DE" dirty="0"/>
          </a:p>
          <a:p>
            <a:endParaRPr lang="de-DE" dirty="0"/>
          </a:p>
        </p:txBody>
      </p:sp>
      <p:sp>
        <p:nvSpPr>
          <p:cNvPr id="2" name="Rechteck 1"/>
          <p:cNvSpPr/>
          <p:nvPr/>
        </p:nvSpPr>
        <p:spPr>
          <a:xfrm>
            <a:off x="2392321" y="2724603"/>
            <a:ext cx="7079055" cy="26396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dirty="0"/>
              <a:t>Bild</a:t>
            </a:r>
          </a:p>
        </p:txBody>
      </p:sp>
      <p:pic>
        <p:nvPicPr>
          <p:cNvPr id="3" name="内容占位符 4">
            <a:extLst>
              <a:ext uri="{FF2B5EF4-FFF2-40B4-BE49-F238E27FC236}">
                <a16:creationId xmlns:a16="http://schemas.microsoft.com/office/drawing/2014/main" id="{91C6CC66-BFCA-77CF-73B7-CFE7C4229E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2320" y="2738883"/>
            <a:ext cx="7099055" cy="2639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2875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DC49DBC-00B1-BF4E-54A1-948B2F57E4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Implementation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12E9D00-803D-6442-DFC2-FB63C602DB67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en-US" altLang="zh-CN"/>
              <a:t>Dataset</a:t>
            </a:r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pPr marL="0" indent="0">
              <a:buNone/>
            </a:pPr>
            <a:endParaRPr lang="en-US" altLang="zh-CN"/>
          </a:p>
          <a:p>
            <a:pPr marL="0" indent="0">
              <a:buNone/>
            </a:pPr>
            <a:endParaRPr lang="en-US" altLang="zh-CN"/>
          </a:p>
          <a:p>
            <a:r>
              <a:rPr lang="en-US" altLang="zh-CN"/>
              <a:t>Labeling</a:t>
            </a:r>
          </a:p>
          <a:p>
            <a:endParaRPr lang="en-US" altLang="zh-CN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45D1609B-06B4-157A-CB96-51FEDE9EB5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5540" y="727200"/>
            <a:ext cx="5313590" cy="2476775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22519ADC-0774-16B8-0F93-80F6A94B03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35560" y="3518385"/>
            <a:ext cx="5037133" cy="239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4660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59C70BD-46CF-F41D-C453-5E4490FD6C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Implementation	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6CC9C16-0211-D9FC-84D7-FD9AFF1227FA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en-US" altLang="zh-CN"/>
              <a:t>Training process</a:t>
            </a:r>
          </a:p>
          <a:p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7D08802F-DFD8-31D7-DE2A-13A4F4C1F9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355" y="1313765"/>
            <a:ext cx="8796300" cy="439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45792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5DB493B-752E-9601-9FE2-AC8BECC9FE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Implementation	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E875698-D045-21B0-B480-A0833934D36B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en-US" altLang="zh-CN"/>
              <a:t>Camera calibration</a:t>
            </a:r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r>
              <a:rPr lang="en-US" altLang="zh-CN"/>
              <a:t>Detection</a:t>
            </a:r>
          </a:p>
          <a:p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E78BEF6B-56A6-E8A0-E2A8-19A3EFAF0F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0676" y="818710"/>
            <a:ext cx="2981936" cy="1935215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58B2B7E4-8335-B0B5-ECAF-07CD322B51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86010" y="818710"/>
            <a:ext cx="2836776" cy="1924616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E1905D0A-B602-3186-2CF0-354A1320D5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70907" y="796286"/>
            <a:ext cx="2686224" cy="1947040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3961062F-10CD-7D84-0A25-D09EF3DF28A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50595" y="3459683"/>
            <a:ext cx="3150350" cy="223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1273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4AC79FC-24F1-A935-14C7-09912B2959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/>
              <a:t>Experiment and Evaluation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50F9AB0-5170-6066-B386-4AFF737050A1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en-US" altLang="zh-CN"/>
              <a:t>The influence of the pre-trained model size </a:t>
            </a:r>
          </a:p>
          <a:p>
            <a:pPr marL="0" indent="0">
              <a:buNone/>
            </a:pPr>
            <a:endParaRPr lang="en-US" altLang="zh-CN"/>
          </a:p>
          <a:p>
            <a:r>
              <a:rPr lang="en-US" altLang="zh-CN"/>
              <a:t>Yolov5n.pt                                                  Yolov5s.pt                                          Yolov5m.pt</a:t>
            </a:r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pPr marL="0" indent="0">
              <a:buNone/>
            </a:pPr>
            <a:endParaRPr lang="en-US" altLang="zh-CN"/>
          </a:p>
          <a:p>
            <a:pPr marL="0" indent="0">
              <a:buNone/>
            </a:pPr>
            <a:endParaRPr lang="en-US" altLang="zh-CN"/>
          </a:p>
          <a:p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630BF6B2-D0ED-710D-B95A-A1B491A627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5780" y="2630364"/>
            <a:ext cx="2902969" cy="2176047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75A0F61B-D668-BF82-384A-1DDB628593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03331" y="2630364"/>
            <a:ext cx="3150350" cy="2236208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5500636A-08DA-D52F-C6E1-9FA61A998C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3613" y="2630320"/>
            <a:ext cx="2902969" cy="2176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0748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0880B84-03BA-5A05-6559-56CE6A98BD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/>
              <a:t>Experiment and Evaluation</a:t>
            </a:r>
            <a:endParaRPr lang="zh-CN" altLang="en-US"/>
          </a:p>
        </p:txBody>
      </p:sp>
      <p:pic>
        <p:nvPicPr>
          <p:cNvPr id="5" name="内容占位符 4">
            <a:extLst>
              <a:ext uri="{FF2B5EF4-FFF2-40B4-BE49-F238E27FC236}">
                <a16:creationId xmlns:a16="http://schemas.microsoft.com/office/drawing/2014/main" id="{2EED32BB-98CF-B329-8D53-D5F26B94D212}"/>
              </a:ext>
            </a:extLst>
          </p:cNvPr>
          <p:cNvPicPr>
            <a:picLocks noGrp="1" noChangeAspect="1"/>
          </p:cNvPicPr>
          <p:nvPr>
            <p:ph idx="10"/>
          </p:nvPr>
        </p:nvPicPr>
        <p:blipFill>
          <a:blip r:embed="rId2"/>
          <a:stretch>
            <a:fillRect/>
          </a:stretch>
        </p:blipFill>
        <p:spPr>
          <a:xfrm>
            <a:off x="1010435" y="1227437"/>
            <a:ext cx="6764533" cy="4161690"/>
          </a:xfr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430F3ED8-B265-03B9-F345-452EC2264CF1}"/>
              </a:ext>
            </a:extLst>
          </p:cNvPr>
          <p:cNvSpPr txBox="1"/>
          <p:nvPr/>
        </p:nvSpPr>
        <p:spPr>
          <a:xfrm>
            <a:off x="750271" y="908720"/>
            <a:ext cx="610094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400"/>
              <a:t>Point cloud</a:t>
            </a:r>
          </a:p>
        </p:txBody>
      </p:sp>
    </p:spTree>
    <p:extLst>
      <p:ext uri="{BB962C8B-B14F-4D97-AF65-F5344CB8AC3E}">
        <p14:creationId xmlns:p14="http://schemas.microsoft.com/office/powerpoint/2010/main" val="12881216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Summary and Outlook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endParaRPr lang="de-DE"/>
          </a:p>
          <a:p>
            <a:r>
              <a:rPr lang="de-DE" altLang="zh-CN"/>
              <a:t>Limitations: limited application senario</a:t>
            </a:r>
          </a:p>
          <a:p>
            <a:endParaRPr lang="de-DE"/>
          </a:p>
          <a:p>
            <a:r>
              <a:rPr lang="de-DE"/>
              <a:t>Future work:</a:t>
            </a:r>
          </a:p>
          <a:p>
            <a:pPr lvl="1"/>
            <a:r>
              <a:rPr lang="de-DE"/>
              <a:t>More training data</a:t>
            </a:r>
          </a:p>
          <a:p>
            <a:pPr lvl="1"/>
            <a:endParaRPr lang="de-DE"/>
          </a:p>
          <a:p>
            <a:pPr lvl="1"/>
            <a:endParaRPr lang="de-DE"/>
          </a:p>
          <a:p>
            <a:pPr lvl="1"/>
            <a:endParaRPr lang="de-DE"/>
          </a:p>
          <a:p>
            <a:pPr lvl="1"/>
            <a:endParaRPr lang="de-DE"/>
          </a:p>
          <a:p>
            <a:pPr lvl="1"/>
            <a:endParaRPr lang="de-DE"/>
          </a:p>
          <a:p>
            <a:pPr lvl="1"/>
            <a:endParaRPr lang="de-DE"/>
          </a:p>
          <a:p>
            <a:pPr lvl="1"/>
            <a:endParaRPr lang="de-DE"/>
          </a:p>
          <a:p>
            <a:pPr lvl="1"/>
            <a:r>
              <a:rPr lang="de-DE"/>
              <a:t>Complexer senario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E6B3506C-A5C9-2EE8-A385-ACFBB8C0D1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0495" y="2663915"/>
            <a:ext cx="2691547" cy="1935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4520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tivatio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>
            <a:normAutofit/>
          </a:bodyPr>
          <a:lstStyle/>
          <a:p>
            <a:endParaRPr lang="de-DE"/>
          </a:p>
          <a:p>
            <a:r>
              <a:rPr lang="en-US" altLang="zh-CN"/>
              <a:t>Production Line Automation, Quality Inspection…</a:t>
            </a:r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r>
              <a:rPr lang="en-US" altLang="zh-CN"/>
              <a:t>Efficiency</a:t>
            </a:r>
          </a:p>
          <a:p>
            <a:r>
              <a:rPr lang="en-US" altLang="zh-CN"/>
              <a:t>Safety</a:t>
            </a:r>
          </a:p>
          <a:p>
            <a:endParaRPr lang="en-US" altLang="zh-CN"/>
          </a:p>
          <a:p>
            <a:endParaRPr lang="de-DE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D64BC42-A587-3FFF-D17D-D0599B7E0C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109" y="1591828"/>
            <a:ext cx="4481831" cy="3031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6960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BDF88D6-1F22-6671-0FBD-C4868032EB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oncept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22C0A347-3BA3-6E08-29B7-42376A46C501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de-DE" altLang="zh-CN"/>
              <a:t>B</a:t>
            </a:r>
            <a:r>
              <a:rPr lang="en-US" altLang="zh-CN"/>
              <a:t>in picking in simulation</a:t>
            </a:r>
          </a:p>
          <a:p>
            <a:endParaRPr lang="de-DE" altLang="zh-CN"/>
          </a:p>
          <a:p>
            <a:r>
              <a:rPr lang="de-DE" altLang="zh-CN"/>
              <a:t>A simulation of 7 degrees of freedom robotic arm with integration of YOLO vision system</a:t>
            </a:r>
          </a:p>
          <a:p>
            <a:endParaRPr lang="zh-CN" altLang="en-US"/>
          </a:p>
        </p:txBody>
      </p:sp>
      <p:pic>
        <p:nvPicPr>
          <p:cNvPr id="4" name="内容占位符 4">
            <a:extLst>
              <a:ext uri="{FF2B5EF4-FFF2-40B4-BE49-F238E27FC236}">
                <a16:creationId xmlns:a16="http://schemas.microsoft.com/office/drawing/2014/main" id="{6CEF98F7-B8DB-FBEC-B813-415B8ABC4C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5510" y="2033845"/>
            <a:ext cx="7740847" cy="4046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80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0D52A1F-EF82-0AB4-D76F-0E25F86048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oncept</a:t>
            </a:r>
            <a:endParaRPr lang="zh-CN" altLang="en-US"/>
          </a:p>
        </p:txBody>
      </p:sp>
      <p:graphicFrame>
        <p:nvGraphicFramePr>
          <p:cNvPr id="4" name="内容占位符 3">
            <a:extLst>
              <a:ext uri="{FF2B5EF4-FFF2-40B4-BE49-F238E27FC236}">
                <a16:creationId xmlns:a16="http://schemas.microsoft.com/office/drawing/2014/main" id="{D9F8AB76-B65F-D2F5-4003-527BE925D126}"/>
              </a:ext>
            </a:extLst>
          </p:cNvPr>
          <p:cNvGraphicFramePr>
            <a:graphicFrameLocks noGrp="1"/>
          </p:cNvGraphicFramePr>
          <p:nvPr>
            <p:ph idx="10"/>
            <p:extLst>
              <p:ext uri="{D42A27DB-BD31-4B8C-83A1-F6EECF244321}">
                <p14:modId xmlns:p14="http://schemas.microsoft.com/office/powerpoint/2010/main" val="1181352107"/>
              </p:ext>
            </p:extLst>
          </p:nvPr>
        </p:nvGraphicFramePr>
        <p:xfrm>
          <a:off x="603250" y="821255"/>
          <a:ext cx="10974388" cy="53530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794113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325A65-51E3-6FC3-3A2C-E40617A10D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Methods and Algorithms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9C56F9E6-089A-82F4-44C5-539CC93F0562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en-US" altLang="zh-CN"/>
              <a:t>YOLOv5</a:t>
            </a:r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endParaRPr lang="en-US" altLang="zh-CN"/>
          </a:p>
          <a:p>
            <a:r>
              <a:rPr lang="en-US" altLang="zh-CN"/>
              <a:t>Open Motion Planning Library (OMPL)</a:t>
            </a:r>
          </a:p>
          <a:p>
            <a:pPr lvl="1"/>
            <a:r>
              <a:rPr lang="en-US" altLang="zh-CN"/>
              <a:t>RRT(Rapidly-exploring Random Tree), RRTConnect…</a:t>
            </a:r>
          </a:p>
          <a:p>
            <a:pPr marL="0" indent="0">
              <a:buNone/>
            </a:pPr>
            <a:endParaRPr lang="en-US" altLang="zh-CN"/>
          </a:p>
          <a:p>
            <a:endParaRPr lang="zh-CN" alt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F82EC20B-1C2D-A662-DE98-B1C50773B8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0675" y="727199"/>
            <a:ext cx="8592714" cy="3466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8309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C22085C-AF3D-AA8C-035E-38748039D4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Methods and Algorithms</a:t>
            </a:r>
            <a:endParaRPr lang="zh-CN" altLang="en-US"/>
          </a:p>
        </p:txBody>
      </p:sp>
      <p:pic>
        <p:nvPicPr>
          <p:cNvPr id="4" name="内容占位符 3">
            <a:extLst>
              <a:ext uri="{FF2B5EF4-FFF2-40B4-BE49-F238E27FC236}">
                <a16:creationId xmlns:a16="http://schemas.microsoft.com/office/drawing/2014/main" id="{7C32463B-7A99-C333-E24E-D4805FC8B4B5}"/>
              </a:ext>
            </a:extLst>
          </p:cNvPr>
          <p:cNvPicPr>
            <a:picLocks noGrp="1" noChangeAspect="1"/>
          </p:cNvPicPr>
          <p:nvPr>
            <p:ph idx="10"/>
          </p:nvPr>
        </p:nvPicPr>
        <p:blipFill>
          <a:blip r:embed="rId2"/>
          <a:stretch>
            <a:fillRect/>
          </a:stretch>
        </p:blipFill>
        <p:spPr>
          <a:xfrm>
            <a:off x="1685510" y="1237449"/>
            <a:ext cx="9011707" cy="4991385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517CE029-8FD1-811E-B047-D92BF7EB1273}"/>
              </a:ext>
            </a:extLst>
          </p:cNvPr>
          <p:cNvSpPr txBox="1"/>
          <p:nvPr/>
        </p:nvSpPr>
        <p:spPr>
          <a:xfrm>
            <a:off x="602585" y="908720"/>
            <a:ext cx="609981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000"/>
              <a:t>Pinhole model</a:t>
            </a:r>
            <a:endParaRPr lang="zh-CN" altLang="en-US" sz="2000"/>
          </a:p>
        </p:txBody>
      </p:sp>
    </p:spTree>
    <p:extLst>
      <p:ext uri="{BB962C8B-B14F-4D97-AF65-F5344CB8AC3E}">
        <p14:creationId xmlns:p14="http://schemas.microsoft.com/office/powerpoint/2010/main" val="42298934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687F0AD-3E89-B242-0B6D-0F9A06A3DB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Implementation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C8767452-65B0-EE04-068E-9739A2CEB48C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en-US" altLang="zh-CN"/>
              <a:t>URUF file</a:t>
            </a:r>
          </a:p>
          <a:p>
            <a:r>
              <a:rPr lang="en-US" altLang="zh-CN"/>
              <a:t>Planning scene</a:t>
            </a:r>
          </a:p>
          <a:p>
            <a:r>
              <a:rPr lang="en-US" altLang="zh-CN"/>
              <a:t>YOLO	 object detection</a:t>
            </a:r>
          </a:p>
          <a:p>
            <a:r>
              <a:rPr lang="en-US" altLang="zh-CN"/>
              <a:t>Camera calibration</a:t>
            </a:r>
          </a:p>
          <a:p>
            <a:r>
              <a:rPr lang="en-US" altLang="zh-CN"/>
              <a:t>Gazebo simulation</a:t>
            </a:r>
          </a:p>
          <a:p>
            <a:endParaRPr lang="en-US" altLang="zh-CN"/>
          </a:p>
          <a:p>
            <a:endParaRPr lang="en-US" altLang="zh-CN"/>
          </a:p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932038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25EFA95-828F-0190-B145-500F70617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Implementation</a:t>
            </a:r>
            <a:endParaRPr lang="zh-CN" altLang="en-US"/>
          </a:p>
        </p:txBody>
      </p:sp>
      <p:pic>
        <p:nvPicPr>
          <p:cNvPr id="5" name="内容占位符 4">
            <a:extLst>
              <a:ext uri="{FF2B5EF4-FFF2-40B4-BE49-F238E27FC236}">
                <a16:creationId xmlns:a16="http://schemas.microsoft.com/office/drawing/2014/main" id="{91B6C204-5F33-CF68-86FF-37DABF370E5D}"/>
              </a:ext>
            </a:extLst>
          </p:cNvPr>
          <p:cNvPicPr>
            <a:picLocks noGrp="1" noChangeAspect="1"/>
          </p:cNvPicPr>
          <p:nvPr>
            <p:ph idx="10"/>
          </p:nvPr>
        </p:nvPicPr>
        <p:blipFill>
          <a:blip r:embed="rId2"/>
          <a:stretch>
            <a:fillRect/>
          </a:stretch>
        </p:blipFill>
        <p:spPr>
          <a:xfrm>
            <a:off x="760143" y="1358770"/>
            <a:ext cx="5506712" cy="4662872"/>
          </a:xfr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3127FF8D-D404-55A5-9A7D-E52C4E46EED0}"/>
              </a:ext>
            </a:extLst>
          </p:cNvPr>
          <p:cNvSpPr txBox="1"/>
          <p:nvPr/>
        </p:nvSpPr>
        <p:spPr>
          <a:xfrm>
            <a:off x="602585" y="908720"/>
            <a:ext cx="610094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/>
              <a:t>Environment setup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85378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43571C8-1E4F-44DE-B71C-39ECDD5CA0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Implementation</a:t>
            </a:r>
            <a:endParaRPr lang="zh-CN" altLang="en-US"/>
          </a:p>
        </p:txBody>
      </p:sp>
      <p:pic>
        <p:nvPicPr>
          <p:cNvPr id="5" name="内容占位符 4">
            <a:extLst>
              <a:ext uri="{FF2B5EF4-FFF2-40B4-BE49-F238E27FC236}">
                <a16:creationId xmlns:a16="http://schemas.microsoft.com/office/drawing/2014/main" id="{6FA35595-9074-868C-17DB-D0BAA7CC6852}"/>
              </a:ext>
            </a:extLst>
          </p:cNvPr>
          <p:cNvPicPr>
            <a:picLocks noGrp="1" noChangeAspect="1"/>
          </p:cNvPicPr>
          <p:nvPr>
            <p:ph idx="10"/>
          </p:nvPr>
        </p:nvPicPr>
        <p:blipFill>
          <a:blip r:embed="rId2"/>
          <a:stretch>
            <a:fillRect/>
          </a:stretch>
        </p:blipFill>
        <p:spPr>
          <a:xfrm>
            <a:off x="641616" y="1493785"/>
            <a:ext cx="5448476" cy="4296705"/>
          </a:xfr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2B09274B-FD73-A4F4-36B1-07165613C67E}"/>
              </a:ext>
            </a:extLst>
          </p:cNvPr>
          <p:cNvSpPr txBox="1"/>
          <p:nvPr/>
        </p:nvSpPr>
        <p:spPr>
          <a:xfrm>
            <a:off x="560385" y="898233"/>
            <a:ext cx="610094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/>
              <a:t>Planning scen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019709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c5e40d7-b542-49fc-9dfb-d66a29c96b40"/>
</p:tagLst>
</file>

<file path=ppt/theme/theme1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Frutiger 55 Roman"/>
        <a:ea typeface=""/>
        <a:cs typeface=""/>
      </a:majorFont>
      <a:minorFont>
        <a:latin typeface="Frutiger 45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tandarddesign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23</TotalTime>
  <Words>164</Words>
  <Application>Microsoft Office PowerPoint</Application>
  <PresentationFormat>宽屏</PresentationFormat>
  <Paragraphs>100</Paragraphs>
  <Slides>15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24" baseType="lpstr">
      <vt:lpstr>Frutiger 45 Light</vt:lpstr>
      <vt:lpstr>Frutiger 55 Roman</vt:lpstr>
      <vt:lpstr>Frutiger LT Com 45 Light</vt:lpstr>
      <vt:lpstr>Frutiger LT Com 55 Roman</vt:lpstr>
      <vt:lpstr>Arial</vt:lpstr>
      <vt:lpstr>Symbol</vt:lpstr>
      <vt:lpstr>Wingdings</vt:lpstr>
      <vt:lpstr>Wingdings 2</vt:lpstr>
      <vt:lpstr>Standarddesign</vt:lpstr>
      <vt:lpstr>Laborprojekt Servicerobotik / Bildverarbeitung für Robotik 2024 Abschlusspräsentation Projekt 02: &lt;Bin picking&gt; </vt:lpstr>
      <vt:lpstr>Motivation</vt:lpstr>
      <vt:lpstr>Concept</vt:lpstr>
      <vt:lpstr>Concept</vt:lpstr>
      <vt:lpstr>Methods and Algorithms</vt:lpstr>
      <vt:lpstr>Methods and Algorithms</vt:lpstr>
      <vt:lpstr>Implementation</vt:lpstr>
      <vt:lpstr>Implementation</vt:lpstr>
      <vt:lpstr>Implementation</vt:lpstr>
      <vt:lpstr>Implementation</vt:lpstr>
      <vt:lpstr>Implementation </vt:lpstr>
      <vt:lpstr>Implementation </vt:lpstr>
      <vt:lpstr>Experiment and Evaluation</vt:lpstr>
      <vt:lpstr>Experiment and Evaluation</vt:lpstr>
      <vt:lpstr>Summary and Outlook</vt:lpstr>
    </vt:vector>
  </TitlesOfParts>
  <Company>Blues Broth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richard.bormann@ipa.fraunhofer.de</dc:creator>
  <cp:lastModifiedBy>NAN JIANG</cp:lastModifiedBy>
  <cp:revision>832</cp:revision>
  <dcterms:created xsi:type="dcterms:W3CDTF">2007-10-14T19:02:10Z</dcterms:created>
  <dcterms:modified xsi:type="dcterms:W3CDTF">2024-07-15T05:29:55Z</dcterms:modified>
</cp:coreProperties>
</file>